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68" r:id="rId1"/>
  </p:sldMasterIdLst>
  <p:notesMasterIdLst>
    <p:notesMasterId r:id="rId11"/>
  </p:notesMasterIdLst>
  <p:sldIdLst>
    <p:sldId id="324" r:id="rId2"/>
    <p:sldId id="461" r:id="rId3"/>
    <p:sldId id="465" r:id="rId4"/>
    <p:sldId id="474" r:id="rId5"/>
    <p:sldId id="475" r:id="rId6"/>
    <p:sldId id="470" r:id="rId7"/>
    <p:sldId id="471" r:id="rId8"/>
    <p:sldId id="476" r:id="rId9"/>
    <p:sldId id="473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B37C58B6-A90A-4116-8142-A4FE5AE37829}">
          <p14:sldIdLst>
            <p14:sldId id="324"/>
            <p14:sldId id="461"/>
            <p14:sldId id="465"/>
            <p14:sldId id="474"/>
            <p14:sldId id="475"/>
            <p14:sldId id="470"/>
            <p14:sldId id="471"/>
            <p14:sldId id="476"/>
            <p14:sldId id="473"/>
          </p14:sldIdLst>
        </p14:section>
        <p14:section name="Abschnitt ohne Titel" id="{64187779-1B04-472F-9DC0-2379F93B8388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lena Soltmann" initials="OS" lastIdx="1" clrIdx="0">
    <p:extLst>
      <p:ext uri="{19B8F6BF-5375-455C-9EA6-DF929625EA0E}">
        <p15:presenceInfo xmlns:p15="http://schemas.microsoft.com/office/powerpoint/2012/main" userId="03f745a2dd37cfb6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375" autoAdjust="0"/>
    <p:restoredTop sz="96374" autoAdjust="0"/>
  </p:normalViewPr>
  <p:slideViewPr>
    <p:cSldViewPr snapToGrid="0">
      <p:cViewPr varScale="1">
        <p:scale>
          <a:sx n="84" d="100"/>
          <a:sy n="84" d="100"/>
        </p:scale>
        <p:origin x="658" y="8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commentAuthors" Target="commentAuthor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811334F-ED18-784F-89B5-4FEE9B2F1159}" type="datetimeFigureOut">
              <a:rPr lang="en-US" smtClean="0"/>
              <a:t>12/1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0E2926-5122-0A4F-AE26-F6CB8B58C0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0510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400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0E2926-5122-0A4F-AE26-F6CB8B58C03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58183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400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0E2926-5122-0A4F-AE26-F6CB8B58C03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35988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400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0E2926-5122-0A4F-AE26-F6CB8B58C03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6355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400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0E2926-5122-0A4F-AE26-F6CB8B58C03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80345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400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0E2926-5122-0A4F-AE26-F6CB8B58C03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1430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400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0E2926-5122-0A4F-AE26-F6CB8B58C03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06711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1400" b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0E2926-5122-0A4F-AE26-F6CB8B58C03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48075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63880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C6B4A9-1611-4792-9094-5F34BCA07E0B}" type="datetimeFigureOut">
              <a:rPr lang="en-US" smtClean="0"/>
              <a:pPr/>
              <a:t>12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4646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266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3937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9253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712588-04B1-427B-82EE-E8DB90309F08}" type="datetimeFigureOut">
              <a:rPr lang="en-US" smtClean="0"/>
              <a:pPr/>
              <a:t>12/1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F9F0C5-380F-41C2-899A-BAC0F0927E1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39895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7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27281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7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63572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7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65084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A54C80-263E-416B-A8E0-580EDEADCBDC}" type="datetimeFigureOut">
              <a:rPr lang="en-US" smtClean="0"/>
              <a:pPr/>
              <a:t>12/1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3133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smtClean="0"/>
              <a:pPr/>
              <a:t>12/1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9238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750181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3" name="think-cell Folie" r:id="rId16" imgW="424" imgH="421" progId="TCLayout.ActiveDocument.1">
                  <p:embed/>
                </p:oleObj>
              </mc:Choice>
              <mc:Fallback>
                <p:oleObj name="think-cell Folie" r:id="rId16" imgW="424" imgH="42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smtClean="0"/>
              <a:pPr/>
              <a:t>12/1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1626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428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4504" y="100014"/>
            <a:ext cx="8865296" cy="1215220"/>
          </a:xfrm>
        </p:spPr>
        <p:txBody>
          <a:bodyPr>
            <a:normAutofit fontScale="90000"/>
          </a:bodyPr>
          <a:lstStyle/>
          <a:p>
            <a:r>
              <a:rPr lang="en-US" dirty="0"/>
              <a:t/>
            </a:r>
            <a:br>
              <a:rPr lang="en-US" dirty="0"/>
            </a:br>
            <a:r>
              <a:rPr lang="sq-AL" dirty="0"/>
              <a:t/>
            </a:r>
            <a:br>
              <a:rPr lang="sq-AL" dirty="0"/>
            </a:br>
            <a:r>
              <a:rPr lang="en-US" dirty="0">
                <a:latin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</a:rPr>
            </a:br>
            <a:r>
              <a:rPr lang="sq-AL" dirty="0"/>
              <a:t/>
            </a:r>
            <a:br>
              <a:rPr lang="sq-AL" dirty="0"/>
            </a:b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26901" y="0"/>
            <a:ext cx="12192000" cy="6858000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964504" y="1170935"/>
            <a:ext cx="10352999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3600" b="1" i="1">
                <a:solidFill>
                  <a:schemeClr val="accent6">
                    <a:lumMod val="75000"/>
                  </a:schemeClr>
                </a:solidFill>
              </a:rPr>
              <a:t>What is measured/can be measured at your University to assess research performance? </a:t>
            </a:r>
            <a:endParaRPr lang="en-US" sz="3600" b="1" i="1" smtClean="0">
              <a:solidFill>
                <a:schemeClr val="accent6">
                  <a:lumMod val="75000"/>
                </a:schemeClr>
              </a:solidFill>
            </a:endParaRPr>
          </a:p>
          <a:p>
            <a:pPr algn="ctr"/>
            <a:r>
              <a:rPr lang="en-US" sz="3600" b="1" i="1" smtClean="0"/>
              <a:t>UNIVERSITY OF PRISHTINA</a:t>
            </a:r>
          </a:p>
          <a:p>
            <a:pPr algn="ctr"/>
            <a:r>
              <a:rPr lang="en-US" sz="3600" b="1" i="1" smtClean="0"/>
              <a:t>Team</a:t>
            </a:r>
            <a:r>
              <a:rPr lang="en-US" sz="3600" b="1" i="1"/>
              <a:t>: </a:t>
            </a:r>
            <a:r>
              <a:rPr lang="en-US" sz="3600" i="1" smtClean="0"/>
              <a:t>Zana Limani Fazliu(UP-FECE</a:t>
            </a:r>
            <a:r>
              <a:rPr lang="en-US" sz="3600" i="1"/>
              <a:t>)</a:t>
            </a:r>
          </a:p>
          <a:p>
            <a:pPr algn="ctr"/>
            <a:r>
              <a:rPr lang="en-US" sz="3600" i="1" smtClean="0"/>
              <a:t>Hëna </a:t>
            </a:r>
            <a:r>
              <a:rPr lang="en-US" sz="3600" i="1"/>
              <a:t>Maloku (UP-FECE)</a:t>
            </a:r>
          </a:p>
          <a:p>
            <a:pPr algn="ctr"/>
            <a:r>
              <a:rPr lang="en-US" sz="3600" i="1" smtClean="0"/>
              <a:t>Valon Raça(UP-FECE</a:t>
            </a:r>
            <a:r>
              <a:rPr lang="en-US" sz="3600" i="1"/>
              <a:t>)</a:t>
            </a:r>
          </a:p>
          <a:p>
            <a:pPr algn="ctr"/>
            <a:r>
              <a:rPr lang="en-US" sz="3600" i="1" smtClean="0"/>
              <a:t>Valdete Rexhëbeqaj Hamiti </a:t>
            </a:r>
            <a:r>
              <a:rPr lang="en-US" sz="3600" i="1"/>
              <a:t>(UP-FECE)</a:t>
            </a:r>
          </a:p>
          <a:p>
            <a:pPr algn="ctr"/>
            <a:r>
              <a:rPr lang="en-US" sz="3600" i="1" smtClean="0"/>
              <a:t>Avni Hajdari </a:t>
            </a:r>
            <a:r>
              <a:rPr lang="en-US" sz="3600" i="1"/>
              <a:t>(</a:t>
            </a:r>
            <a:r>
              <a:rPr lang="en-US" sz="3600" i="1" smtClean="0"/>
              <a:t>UP)</a:t>
            </a:r>
            <a:endParaRPr lang="en-US" sz="3600" i="1"/>
          </a:p>
          <a:p>
            <a:pPr algn="just"/>
            <a:endParaRPr lang="en-US" sz="3600" b="1" i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265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4504" y="100014"/>
            <a:ext cx="8865296" cy="1215220"/>
          </a:xfrm>
        </p:spPr>
        <p:txBody>
          <a:bodyPr>
            <a:normAutofit fontScale="90000"/>
          </a:bodyPr>
          <a:lstStyle/>
          <a:p>
            <a:r>
              <a:rPr lang="en-US" dirty="0"/>
              <a:t/>
            </a:r>
            <a:br>
              <a:rPr lang="en-US" dirty="0"/>
            </a:br>
            <a:r>
              <a:rPr lang="sq-AL" dirty="0"/>
              <a:t/>
            </a:r>
            <a:br>
              <a:rPr lang="sq-AL" dirty="0"/>
            </a:br>
            <a:r>
              <a:rPr lang="en-US" dirty="0">
                <a:latin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</a:rPr>
            </a:br>
            <a:r>
              <a:rPr lang="sq-AL" dirty="0"/>
              <a:t/>
            </a:r>
            <a:br>
              <a:rPr lang="sq-AL" dirty="0"/>
            </a:b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003" y="0"/>
            <a:ext cx="12192000" cy="6858000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964504" y="1986237"/>
            <a:ext cx="10452913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b="1" smtClean="0"/>
              <a:t>For individual </a:t>
            </a:r>
            <a:r>
              <a:rPr lang="en-US" b="1"/>
              <a:t>researchers</a:t>
            </a:r>
          </a:p>
          <a:p>
            <a:pPr algn="just"/>
            <a:r>
              <a:rPr lang="en-US" b="1" smtClean="0"/>
              <a:t>Scientific impact: </a:t>
            </a:r>
            <a:endParaRPr lang="en-US" b="1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dirty="0"/>
              <a:t>Number of </a:t>
            </a:r>
            <a:r>
              <a:rPr lang="en-US"/>
              <a:t>scientific </a:t>
            </a:r>
            <a:r>
              <a:rPr lang="en-US" smtClean="0"/>
              <a:t>publications as first or corresponding author 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mtClean="0"/>
              <a:t>Quality and ranking of journals in indexing platforms such as  Web of Science, Scopus, EBSCO, DOAJ, Worldcat.</a:t>
            </a: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r>
              <a:rPr lang="en-US" smtClean="0"/>
              <a:t>Higher points are accorded to journals indexed in Web of Science SCIE, SSCI, AHCI and Scopus Q1, Q2 </a:t>
            </a: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r>
              <a:rPr lang="en-US" smtClean="0"/>
              <a:t>The full list is included in UP Regulation 191 dt. 16.02.2021</a:t>
            </a:r>
            <a:endParaRPr lang="en-US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/>
              <a:t>Number </a:t>
            </a:r>
            <a:r>
              <a:rPr lang="en-US" smtClean="0"/>
              <a:t>of international and national research projects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mtClean="0"/>
              <a:t>Number of participations and presentations at international/national conferences</a:t>
            </a:r>
            <a:endParaRPr lang="en-US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mtClean="0"/>
              <a:t>Number of MSc/PhD thesis supervised</a:t>
            </a:r>
            <a:endParaRPr lang="de-DE" dirty="0"/>
          </a:p>
          <a:p>
            <a:r>
              <a:rPr lang="en-US" b="1" dirty="0"/>
              <a:t>Research impact to socie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mtClean="0"/>
              <a:t>Contributions to society, University and Faculty which may includ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mtClean="0"/>
              <a:t>Participation in projects serving the community and society at larg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mtClean="0"/>
              <a:t>Participation in the peer review process as a reviewer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mtClean="0"/>
              <a:t>Participation in University/ Faculty committees, evaluation bodies or manage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Textfeld 2">
            <a:extLst>
              <a:ext uri="{FF2B5EF4-FFF2-40B4-BE49-F238E27FC236}">
                <a16:creationId xmlns:a16="http://schemas.microsoft.com/office/drawing/2014/main" id="{65112604-150C-4EB5-9C3E-D9C9966198DA}"/>
              </a:ext>
            </a:extLst>
          </p:cNvPr>
          <p:cNvSpPr txBox="1"/>
          <p:nvPr/>
        </p:nvSpPr>
        <p:spPr>
          <a:xfrm>
            <a:off x="1097343" y="1327570"/>
            <a:ext cx="108482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3600" b="1" i="1" dirty="0">
                <a:solidFill>
                  <a:schemeClr val="accent6">
                    <a:lumMod val="75000"/>
                  </a:schemeClr>
                </a:solidFill>
              </a:rPr>
              <a:t>What </a:t>
            </a:r>
            <a:r>
              <a:rPr lang="en-US" sz="3600" b="1" i="1">
                <a:solidFill>
                  <a:schemeClr val="accent6">
                    <a:lumMod val="75000"/>
                  </a:schemeClr>
                </a:solidFill>
              </a:rPr>
              <a:t>is </a:t>
            </a:r>
            <a:r>
              <a:rPr lang="en-US" sz="3600" b="1" i="1" smtClean="0">
                <a:solidFill>
                  <a:schemeClr val="accent6">
                    <a:lumMod val="75000"/>
                  </a:schemeClr>
                </a:solidFill>
              </a:rPr>
              <a:t>currently measured at University of Prishtina</a:t>
            </a:r>
            <a:endParaRPr lang="en-US" sz="3600" b="1" i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1236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4504" y="100014"/>
            <a:ext cx="8865296" cy="1215220"/>
          </a:xfrm>
        </p:spPr>
        <p:txBody>
          <a:bodyPr>
            <a:normAutofit fontScale="90000"/>
          </a:bodyPr>
          <a:lstStyle/>
          <a:p>
            <a:r>
              <a:rPr lang="en-US" dirty="0"/>
              <a:t/>
            </a:r>
            <a:br>
              <a:rPr lang="en-US" dirty="0"/>
            </a:br>
            <a:r>
              <a:rPr lang="sq-AL" dirty="0"/>
              <a:t/>
            </a:r>
            <a:br>
              <a:rPr lang="sq-AL" dirty="0"/>
            </a:br>
            <a:r>
              <a:rPr lang="en-US" dirty="0">
                <a:latin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</a:rPr>
            </a:br>
            <a:r>
              <a:rPr lang="sq-AL" dirty="0"/>
              <a:t/>
            </a:r>
            <a:br>
              <a:rPr lang="sq-AL" dirty="0"/>
            </a:b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003" y="0"/>
            <a:ext cx="12192000" cy="6858000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964504" y="1986237"/>
            <a:ext cx="10452913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b="1" smtClean="0"/>
              <a:t>For academic units</a:t>
            </a:r>
            <a:endParaRPr lang="en-US" b="1"/>
          </a:p>
          <a:p>
            <a:r>
              <a:rPr lang="en-US" b="1" smtClean="0"/>
              <a:t>Scientific impact</a:t>
            </a:r>
            <a:endParaRPr lang="en-US" b="1"/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/>
              <a:t>Number of scientific publications </a:t>
            </a:r>
            <a:r>
              <a:rPr lang="en-US" smtClean="0"/>
              <a:t>in international and national peer reviewed journals of unit academic staff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mtClean="0"/>
              <a:t>Number of scientific publications presented at international/national conferences </a:t>
            </a:r>
            <a:r>
              <a:rPr lang="en-US"/>
              <a:t>of unit </a:t>
            </a:r>
            <a:r>
              <a:rPr lang="en-US" smtClean="0"/>
              <a:t>academic staff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mtClean="0"/>
              <a:t>Number of international and national research project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mtClean="0"/>
              <a:t>Research Infrastructure, including laboratories, equipment, etc. </a:t>
            </a:r>
          </a:p>
          <a:p>
            <a:r>
              <a:rPr lang="en-US" b="1" smtClean="0"/>
              <a:t>Societal impact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mtClean="0"/>
              <a:t>Number of international and national projects that aim at improving the society as a whole</a:t>
            </a:r>
            <a:endParaRPr lang="en-US"/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/>
              <a:t>Number of publications/activities resulting from such projects</a:t>
            </a:r>
            <a:endParaRPr lang="en-US" smtClean="0"/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mtClean="0"/>
              <a:t>Number of citizens and organizations involved</a:t>
            </a:r>
            <a:endParaRPr lang="en-US"/>
          </a:p>
          <a:p>
            <a:r>
              <a:rPr lang="en-US" b="1" smtClean="0"/>
              <a:t>Impact on Policy </a:t>
            </a:r>
            <a:r>
              <a:rPr lang="en-US" b="1"/>
              <a:t>maki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/>
              <a:t>Number </a:t>
            </a:r>
            <a:r>
              <a:rPr lang="en-US" smtClean="0"/>
              <a:t>of activities </a:t>
            </a:r>
            <a:r>
              <a:rPr lang="en-US"/>
              <a:t>with public authoriti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mtClean="0"/>
              <a:t>Number of technical/policy papers</a:t>
            </a:r>
            <a:endParaRPr lang="en-US"/>
          </a:p>
        </p:txBody>
      </p:sp>
      <p:sp>
        <p:nvSpPr>
          <p:cNvPr id="5" name="Textfeld 2">
            <a:extLst>
              <a:ext uri="{FF2B5EF4-FFF2-40B4-BE49-F238E27FC236}">
                <a16:creationId xmlns:a16="http://schemas.microsoft.com/office/drawing/2014/main" id="{65112604-150C-4EB5-9C3E-D9C9966198DA}"/>
              </a:ext>
            </a:extLst>
          </p:cNvPr>
          <p:cNvSpPr txBox="1"/>
          <p:nvPr/>
        </p:nvSpPr>
        <p:spPr>
          <a:xfrm>
            <a:off x="1097343" y="1327570"/>
            <a:ext cx="108482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3600" b="1" i="1" dirty="0">
                <a:solidFill>
                  <a:schemeClr val="accent6">
                    <a:lumMod val="75000"/>
                  </a:schemeClr>
                </a:solidFill>
              </a:rPr>
              <a:t>What </a:t>
            </a:r>
            <a:r>
              <a:rPr lang="en-US" sz="3600" b="1" i="1">
                <a:solidFill>
                  <a:schemeClr val="accent6">
                    <a:lumMod val="75000"/>
                  </a:schemeClr>
                </a:solidFill>
              </a:rPr>
              <a:t>is </a:t>
            </a:r>
            <a:r>
              <a:rPr lang="en-US" sz="3600" b="1" i="1" smtClean="0">
                <a:solidFill>
                  <a:schemeClr val="accent6">
                    <a:lumMod val="75000"/>
                  </a:schemeClr>
                </a:solidFill>
              </a:rPr>
              <a:t>currently measured at University of Prishtina</a:t>
            </a:r>
            <a:endParaRPr lang="en-US" sz="3600" b="1" i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245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4504" y="100014"/>
            <a:ext cx="8865296" cy="1215220"/>
          </a:xfrm>
        </p:spPr>
        <p:txBody>
          <a:bodyPr>
            <a:normAutofit fontScale="90000"/>
          </a:bodyPr>
          <a:lstStyle/>
          <a:p>
            <a:r>
              <a:rPr lang="en-US" dirty="0"/>
              <a:t/>
            </a:r>
            <a:br>
              <a:rPr lang="en-US" dirty="0"/>
            </a:br>
            <a:r>
              <a:rPr lang="sq-AL" dirty="0"/>
              <a:t/>
            </a:r>
            <a:br>
              <a:rPr lang="sq-AL" dirty="0"/>
            </a:br>
            <a:r>
              <a:rPr lang="en-US" dirty="0">
                <a:latin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</a:rPr>
            </a:br>
            <a:r>
              <a:rPr lang="sq-AL" dirty="0"/>
              <a:t/>
            </a:r>
            <a:br>
              <a:rPr lang="sq-AL" dirty="0"/>
            </a:b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003" y="0"/>
            <a:ext cx="12192000" cy="6858000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774540" y="1986237"/>
            <a:ext cx="1045291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b="1" smtClean="0"/>
              <a:t>For academic units</a:t>
            </a:r>
            <a:endParaRPr lang="en-US" b="1"/>
          </a:p>
          <a:p>
            <a:r>
              <a:rPr lang="en-US" b="1"/>
              <a:t>Business impact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/>
              <a:t>Number of agreements with business and industry partners</a:t>
            </a:r>
          </a:p>
          <a:p>
            <a:pPr marL="800100" lvl="1" indent="-342900">
              <a:buFont typeface="Wingdings" panose="05000000000000000000" pitchFamily="2" charset="2"/>
              <a:buChar char="§"/>
            </a:pPr>
            <a:r>
              <a:rPr lang="en-US"/>
              <a:t>Participation of businesses and </a:t>
            </a:r>
            <a:r>
              <a:rPr lang="en-US" smtClean="0"/>
              <a:t>organizations </a:t>
            </a:r>
            <a:r>
              <a:rPr lang="en-US"/>
              <a:t>in industry advisory </a:t>
            </a:r>
            <a:r>
              <a:rPr lang="en-US" smtClean="0"/>
              <a:t>boards</a:t>
            </a:r>
            <a:endParaRPr lang="de-DE" b="1" smtClean="0"/>
          </a:p>
          <a:p>
            <a:r>
              <a:rPr lang="de-DE" b="1" smtClean="0"/>
              <a:t>Research </a:t>
            </a:r>
            <a:r>
              <a:rPr lang="de-DE" b="1"/>
              <a:t>impact to education: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/>
              <a:t>Number of research-oriented courses for students and young researchers 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mtClean="0"/>
              <a:t>Number of research staff with doctoral degrees</a:t>
            </a:r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de-DE" smtClean="0"/>
              <a:t>Number of PhD, MSc students</a:t>
            </a:r>
            <a:endParaRPr lang="en-US" smtClean="0"/>
          </a:p>
          <a:p>
            <a:pPr marL="742950" lvl="1" indent="-285750">
              <a:buFont typeface="Wingdings" panose="05000000000000000000" pitchFamily="2" charset="2"/>
              <a:buChar char="§"/>
            </a:pPr>
            <a:r>
              <a:rPr lang="en-US" smtClean="0"/>
              <a:t>Number </a:t>
            </a:r>
            <a:r>
              <a:rPr lang="en-US"/>
              <a:t>of external</a:t>
            </a:r>
            <a:r>
              <a:rPr lang="en-GB"/>
              <a:t>/</a:t>
            </a:r>
            <a:r>
              <a:rPr lang="de-DE"/>
              <a:t>visiting </a:t>
            </a:r>
            <a:r>
              <a:rPr lang="en-US" smtClean="0"/>
              <a:t>professors</a:t>
            </a:r>
          </a:p>
        </p:txBody>
      </p:sp>
      <p:sp>
        <p:nvSpPr>
          <p:cNvPr id="5" name="Textfeld 2">
            <a:extLst>
              <a:ext uri="{FF2B5EF4-FFF2-40B4-BE49-F238E27FC236}">
                <a16:creationId xmlns:a16="http://schemas.microsoft.com/office/drawing/2014/main" id="{65112604-150C-4EB5-9C3E-D9C9966198DA}"/>
              </a:ext>
            </a:extLst>
          </p:cNvPr>
          <p:cNvSpPr txBox="1"/>
          <p:nvPr/>
        </p:nvSpPr>
        <p:spPr>
          <a:xfrm>
            <a:off x="1097343" y="1327570"/>
            <a:ext cx="108482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3600" b="1" i="1" dirty="0">
                <a:solidFill>
                  <a:schemeClr val="accent6">
                    <a:lumMod val="75000"/>
                  </a:schemeClr>
                </a:solidFill>
              </a:rPr>
              <a:t>What </a:t>
            </a:r>
            <a:r>
              <a:rPr lang="en-US" sz="3600" b="1" i="1">
                <a:solidFill>
                  <a:schemeClr val="accent6">
                    <a:lumMod val="75000"/>
                  </a:schemeClr>
                </a:solidFill>
              </a:rPr>
              <a:t>is </a:t>
            </a:r>
            <a:r>
              <a:rPr lang="en-US" sz="3600" b="1" i="1" smtClean="0">
                <a:solidFill>
                  <a:schemeClr val="accent6">
                    <a:lumMod val="75000"/>
                  </a:schemeClr>
                </a:solidFill>
              </a:rPr>
              <a:t>currently measured at University of Prishtina</a:t>
            </a:r>
            <a:endParaRPr lang="en-US" sz="3600" b="1" i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2394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4504" y="100014"/>
            <a:ext cx="8865296" cy="1215220"/>
          </a:xfrm>
        </p:spPr>
        <p:txBody>
          <a:bodyPr>
            <a:normAutofit fontScale="90000"/>
          </a:bodyPr>
          <a:lstStyle/>
          <a:p>
            <a:r>
              <a:rPr lang="en-US" dirty="0"/>
              <a:t/>
            </a:r>
            <a:br>
              <a:rPr lang="en-US" dirty="0"/>
            </a:br>
            <a:r>
              <a:rPr lang="sq-AL" dirty="0"/>
              <a:t/>
            </a:r>
            <a:br>
              <a:rPr lang="sq-AL" dirty="0"/>
            </a:br>
            <a:r>
              <a:rPr lang="en-US" dirty="0">
                <a:latin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</a:rPr>
            </a:br>
            <a:r>
              <a:rPr lang="sq-AL" dirty="0"/>
              <a:t/>
            </a:r>
            <a:br>
              <a:rPr lang="sq-AL" dirty="0"/>
            </a:b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003" y="0"/>
            <a:ext cx="12192000" cy="6858000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1073164" y="2385253"/>
            <a:ext cx="9855665" cy="32008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000" b="1" smtClean="0"/>
              <a:t>Individual researchers and academic staff</a:t>
            </a:r>
          </a:p>
          <a:p>
            <a:pPr marL="457200" indent="-457200" algn="just">
              <a:buFont typeface="Wingdings" panose="05000000000000000000" pitchFamily="2" charset="2"/>
              <a:buChar char="§"/>
            </a:pPr>
            <a:r>
              <a:rPr lang="en-US" smtClean="0"/>
              <a:t>Currently research performance of individual staff is measured at 4-year intervals, when contracts are renewed</a:t>
            </a:r>
          </a:p>
          <a:p>
            <a:pPr marL="457200" indent="-457200" algn="just">
              <a:buFont typeface="Wingdings" panose="05000000000000000000" pitchFamily="2" charset="2"/>
              <a:buChar char="§"/>
            </a:pPr>
            <a:r>
              <a:rPr lang="en-US" smtClean="0"/>
              <a:t>The evaluation is performed by an evaluation committee from the academic unit, and confirmed by a Universitly level consultation body. The evaluation and the contract renewal is approved by the University Senate</a:t>
            </a:r>
          </a:p>
          <a:p>
            <a:pPr algn="just"/>
            <a:endParaRPr lang="en-US" sz="2000" b="1" smtClean="0"/>
          </a:p>
          <a:p>
            <a:pPr algn="just"/>
            <a:r>
              <a:rPr lang="de-DE" sz="2000" b="1" smtClean="0"/>
              <a:t>Academic units: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de-DE" smtClean="0"/>
              <a:t>Currently research performance of academic units is evaluated during the accreditation process of the study programmes, usually at 3-year intervals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de-DE" sz="1600" dirty="0"/>
          </a:p>
        </p:txBody>
      </p:sp>
      <p:sp>
        <p:nvSpPr>
          <p:cNvPr id="5" name="Textfeld 2">
            <a:extLst>
              <a:ext uri="{FF2B5EF4-FFF2-40B4-BE49-F238E27FC236}">
                <a16:creationId xmlns:a16="http://schemas.microsoft.com/office/drawing/2014/main" id="{FAD23828-1A6D-4DAE-AA5F-EDD09F7F6D48}"/>
              </a:ext>
            </a:extLst>
          </p:cNvPr>
          <p:cNvSpPr txBox="1"/>
          <p:nvPr/>
        </p:nvSpPr>
        <p:spPr>
          <a:xfrm>
            <a:off x="1124713" y="992068"/>
            <a:ext cx="107716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3600" b="1" i="1" smtClean="0">
                <a:solidFill>
                  <a:schemeClr val="accent6">
                    <a:lumMod val="75000"/>
                  </a:schemeClr>
                </a:solidFill>
              </a:rPr>
              <a:t>How often is research performance assessed at </a:t>
            </a:r>
            <a:r>
              <a:rPr lang="en-US" sz="3600" b="1" i="1">
                <a:solidFill>
                  <a:schemeClr val="accent6">
                    <a:lumMod val="75000"/>
                  </a:schemeClr>
                </a:solidFill>
              </a:rPr>
              <a:t>University of Prishtina</a:t>
            </a:r>
            <a:endParaRPr lang="en-US" sz="3600" b="1" i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746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4504" y="100014"/>
            <a:ext cx="8865296" cy="1215220"/>
          </a:xfrm>
        </p:spPr>
        <p:txBody>
          <a:bodyPr>
            <a:normAutofit fontScale="90000"/>
          </a:bodyPr>
          <a:lstStyle/>
          <a:p>
            <a:r>
              <a:rPr lang="en-US" dirty="0"/>
              <a:t/>
            </a:r>
            <a:br>
              <a:rPr lang="en-US" dirty="0"/>
            </a:br>
            <a:r>
              <a:rPr lang="sq-AL" dirty="0"/>
              <a:t/>
            </a:r>
            <a:br>
              <a:rPr lang="sq-AL" dirty="0"/>
            </a:br>
            <a:r>
              <a:rPr lang="en-US" dirty="0">
                <a:latin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</a:rPr>
            </a:br>
            <a:r>
              <a:rPr lang="sq-AL" dirty="0"/>
              <a:t/>
            </a:r>
            <a:br>
              <a:rPr lang="sq-AL" dirty="0"/>
            </a:b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95003" y="0"/>
            <a:ext cx="12192000" cy="6858000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1312600" y="2473577"/>
            <a:ext cx="9376793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de-DE" sz="2000" dirty="0"/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2400" smtClean="0"/>
              <a:t>The research performance assessment process should be performed on yearly basis, both for individual academic staff and academic units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2400" smtClean="0"/>
              <a:t>The KPIs should include additional parameters such as:</a:t>
            </a: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r>
              <a:rPr lang="en-US" sz="2400" smtClean="0"/>
              <a:t>Number and rating of </a:t>
            </a:r>
            <a:r>
              <a:rPr lang="en-US" sz="2400"/>
              <a:t>citations </a:t>
            </a: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r>
              <a:rPr lang="en-US" sz="2400" smtClean="0"/>
              <a:t>Number </a:t>
            </a:r>
            <a:r>
              <a:rPr lang="en-US" sz="2400"/>
              <a:t>of courses for the general </a:t>
            </a:r>
            <a:r>
              <a:rPr lang="en-US" sz="2400" smtClean="0"/>
              <a:t>public</a:t>
            </a: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r>
              <a:rPr lang="en-US" sz="2400" smtClean="0"/>
              <a:t>Number </a:t>
            </a:r>
            <a:r>
              <a:rPr lang="en-US" sz="2400"/>
              <a:t>of company </a:t>
            </a:r>
            <a:r>
              <a:rPr lang="en-US" sz="2400" smtClean="0"/>
              <a:t>spin-offs</a:t>
            </a: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r>
              <a:rPr lang="en-US" sz="2400" smtClean="0"/>
              <a:t>Research </a:t>
            </a:r>
            <a:r>
              <a:rPr lang="en-US" sz="2400"/>
              <a:t>based courses for </a:t>
            </a:r>
            <a:r>
              <a:rPr lang="en-US" sz="2400" smtClean="0"/>
              <a:t>businesses</a:t>
            </a: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r>
              <a:rPr lang="en-US" sz="2400" smtClean="0"/>
              <a:t>Number </a:t>
            </a:r>
            <a:r>
              <a:rPr lang="en-US" sz="2400"/>
              <a:t>of academia-business </a:t>
            </a:r>
            <a:r>
              <a:rPr lang="en-US" sz="2400" smtClean="0"/>
              <a:t>networks</a:t>
            </a: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r>
              <a:rPr lang="en-US" sz="2400" smtClean="0"/>
              <a:t>Number  </a:t>
            </a:r>
            <a:r>
              <a:rPr lang="en-US" sz="2400"/>
              <a:t>of contracts results from academia-business partnerships</a:t>
            </a:r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endParaRPr lang="en-US" sz="2400"/>
          </a:p>
          <a:p>
            <a:pPr marL="742950" lvl="1" indent="-285750" algn="just">
              <a:buFont typeface="Wingdings" panose="05000000000000000000" pitchFamily="2" charset="2"/>
              <a:buChar char="§"/>
            </a:pPr>
            <a:endParaRPr lang="en-US" sz="2400" smtClean="0"/>
          </a:p>
          <a:p>
            <a:endParaRPr lang="de-DE" sz="2000" dirty="0"/>
          </a:p>
        </p:txBody>
      </p:sp>
      <p:sp>
        <p:nvSpPr>
          <p:cNvPr id="5" name="Textfeld 2">
            <a:extLst>
              <a:ext uri="{FF2B5EF4-FFF2-40B4-BE49-F238E27FC236}">
                <a16:creationId xmlns:a16="http://schemas.microsoft.com/office/drawing/2014/main" id="{FAD23828-1A6D-4DAE-AA5F-EDD09F7F6D48}"/>
              </a:ext>
            </a:extLst>
          </p:cNvPr>
          <p:cNvSpPr txBox="1"/>
          <p:nvPr/>
        </p:nvSpPr>
        <p:spPr>
          <a:xfrm>
            <a:off x="1728131" y="1415248"/>
            <a:ext cx="92405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n-US" sz="3600" b="1" i="1" dirty="0">
                <a:solidFill>
                  <a:schemeClr val="accent6">
                    <a:lumMod val="75000"/>
                  </a:schemeClr>
                </a:solidFill>
              </a:rPr>
              <a:t>What can be </a:t>
            </a:r>
            <a:r>
              <a:rPr lang="en-US" sz="3600" b="1" i="1">
                <a:solidFill>
                  <a:schemeClr val="accent6">
                    <a:lumMod val="75000"/>
                  </a:schemeClr>
                </a:solidFill>
              </a:rPr>
              <a:t>improved </a:t>
            </a:r>
            <a:r>
              <a:rPr lang="en-US" sz="3600" b="1" i="1" smtClean="0">
                <a:solidFill>
                  <a:schemeClr val="accent6">
                    <a:lumMod val="75000"/>
                  </a:schemeClr>
                </a:solidFill>
              </a:rPr>
              <a:t>at University of Prishtina</a:t>
            </a:r>
            <a:endParaRPr lang="en-US" sz="3600" b="1" i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1567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i="1" smtClean="0">
                <a:solidFill>
                  <a:schemeClr val="accent6">
                    <a:lumMod val="75000"/>
                  </a:schemeClr>
                </a:solidFill>
              </a:rPr>
              <a:t>The action plan at </a:t>
            </a:r>
            <a:r>
              <a:rPr lang="en-US" b="1" i="1">
                <a:solidFill>
                  <a:schemeClr val="accent6">
                    <a:lumMod val="75000"/>
                  </a:schemeClr>
                </a:solidFill>
              </a:rPr>
              <a:t>University of </a:t>
            </a:r>
            <a:r>
              <a:rPr lang="en-US" b="1" i="1" smtClean="0">
                <a:solidFill>
                  <a:schemeClr val="accent6">
                    <a:lumMod val="75000"/>
                  </a:schemeClr>
                </a:solidFill>
              </a:rPr>
              <a:t>Prishtina</a:t>
            </a:r>
            <a:endParaRPr lang="sq-AL" b="1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mtClean="0"/>
              <a:t>The strategic plan of University of Prishtina (2020-2022) includes:</a:t>
            </a:r>
          </a:p>
          <a:p>
            <a:pPr lvl="1"/>
            <a:r>
              <a:rPr lang="en-US" smtClean="0"/>
              <a:t>Development of Key Performance Indicators (Deadline: March 2022)</a:t>
            </a:r>
          </a:p>
          <a:p>
            <a:pPr lvl="1"/>
            <a:r>
              <a:rPr lang="en-US" smtClean="0"/>
              <a:t>Yearly report of research results including number of scientific publications, number of conferences, and number of research/artistic groups founded (ongoing, budget allocated: 1% of UP budget).</a:t>
            </a:r>
          </a:p>
          <a:p>
            <a:r>
              <a:rPr lang="en-US" smtClean="0"/>
              <a:t>Currently UP is working towards drafting guidelines for academic staff performance evaluation including creation of individual Performance Cards for academic staff</a:t>
            </a:r>
            <a:endParaRPr lang="sq-AL"/>
          </a:p>
        </p:txBody>
      </p:sp>
    </p:spTree>
    <p:extLst>
      <p:ext uri="{BB962C8B-B14F-4D97-AF65-F5344CB8AC3E}">
        <p14:creationId xmlns:p14="http://schemas.microsoft.com/office/powerpoint/2010/main" val="425811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4504" y="100014"/>
            <a:ext cx="8865296" cy="1215220"/>
          </a:xfrm>
        </p:spPr>
        <p:txBody>
          <a:bodyPr>
            <a:normAutofit fontScale="90000"/>
          </a:bodyPr>
          <a:lstStyle/>
          <a:p>
            <a:r>
              <a:rPr lang="en-US" dirty="0"/>
              <a:t/>
            </a:r>
            <a:br>
              <a:rPr lang="en-US" dirty="0"/>
            </a:br>
            <a:r>
              <a:rPr lang="sq-AL" dirty="0"/>
              <a:t/>
            </a:r>
            <a:br>
              <a:rPr lang="sq-AL" dirty="0"/>
            </a:br>
            <a:r>
              <a:rPr lang="en-US" dirty="0">
                <a:latin typeface="Arial" panose="020B0604020202020204" pitchFamily="34" charset="0"/>
              </a:rPr>
              <a:t/>
            </a:r>
            <a:br>
              <a:rPr lang="en-US" dirty="0">
                <a:latin typeface="Arial" panose="020B0604020202020204" pitchFamily="34" charset="0"/>
              </a:rPr>
            </a:br>
            <a:r>
              <a:rPr lang="sq-AL" dirty="0"/>
              <a:t/>
            </a:r>
            <a:br>
              <a:rPr lang="sq-AL" dirty="0"/>
            </a:b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6801" y="0"/>
            <a:ext cx="12192000" cy="6858000"/>
          </a:xfrm>
          <a:prstGeom prst="rect">
            <a:avLst/>
          </a:prstGeom>
        </p:spPr>
      </p:pic>
      <p:sp>
        <p:nvSpPr>
          <p:cNvPr id="4" name="Textfeld 3"/>
          <p:cNvSpPr txBox="1"/>
          <p:nvPr/>
        </p:nvSpPr>
        <p:spPr>
          <a:xfrm>
            <a:off x="6176180" y="3750286"/>
            <a:ext cx="442672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i="1" dirty="0">
                <a:solidFill>
                  <a:schemeClr val="accent6">
                    <a:lumMod val="75000"/>
                  </a:schemeClr>
                </a:solidFill>
              </a:rPr>
              <a:t>   </a:t>
            </a:r>
            <a:r>
              <a:rPr lang="en-US" sz="5400" b="1" i="1" dirty="0">
                <a:solidFill>
                  <a:schemeClr val="accent6">
                    <a:lumMod val="75000"/>
                  </a:schemeClr>
                </a:solidFill>
              </a:rPr>
              <a:t>THANK YOU!</a:t>
            </a:r>
            <a:endParaRPr lang="en-US" sz="4000" b="1" i="1" dirty="0">
              <a:solidFill>
                <a:schemeClr val="accent6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8812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tBS3u2xUAJGUlwn7n7r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9</TotalTime>
  <Words>601</Words>
  <Application>Microsoft Office PowerPoint</Application>
  <PresentationFormat>Widescreen</PresentationFormat>
  <Paragraphs>84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5" baseType="lpstr">
      <vt:lpstr>Arial</vt:lpstr>
      <vt:lpstr>Calibri</vt:lpstr>
      <vt:lpstr>Calibri Light</vt:lpstr>
      <vt:lpstr>Wingdings</vt:lpstr>
      <vt:lpstr>Office Theme</vt:lpstr>
      <vt:lpstr>think-cell Folie</vt:lpstr>
      <vt:lpstr>PowerPoint Presentation</vt:lpstr>
      <vt:lpstr>    </vt:lpstr>
      <vt:lpstr>    </vt:lpstr>
      <vt:lpstr>    </vt:lpstr>
      <vt:lpstr>    </vt:lpstr>
      <vt:lpstr>    </vt:lpstr>
      <vt:lpstr>    </vt:lpstr>
      <vt:lpstr>The action plan at University of Prishtina</vt:lpstr>
      <vt:lpstr> 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grami Art dhe Dizajn Lënda: Metoda të Kërkimit Shkencor</dc:title>
  <dc:creator>Ariola Memia</dc:creator>
  <cp:lastModifiedBy>User</cp:lastModifiedBy>
  <cp:revision>973</cp:revision>
  <dcterms:created xsi:type="dcterms:W3CDTF">2016-10-25T06:26:43Z</dcterms:created>
  <dcterms:modified xsi:type="dcterms:W3CDTF">2021-12-17T19:12:05Z</dcterms:modified>
</cp:coreProperties>
</file>